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93" r:id="rId5"/>
    <p:sldMasterId id="2147483747" r:id="rId6"/>
    <p:sldMasterId id="2147483771" r:id="rId7"/>
    <p:sldMasterId id="2147483783" r:id="rId8"/>
    <p:sldMasterId id="2147483852" r:id="rId9"/>
    <p:sldMasterId id="2147483877" r:id="rId10"/>
  </p:sldMasterIdLst>
  <p:notesMasterIdLst>
    <p:notesMasterId r:id="rId28"/>
  </p:notesMasterIdLst>
  <p:sldIdLst>
    <p:sldId id="391" r:id="rId11"/>
    <p:sldId id="425" r:id="rId12"/>
    <p:sldId id="409" r:id="rId13"/>
    <p:sldId id="416" r:id="rId14"/>
    <p:sldId id="417" r:id="rId15"/>
    <p:sldId id="418" r:id="rId16"/>
    <p:sldId id="421" r:id="rId17"/>
    <p:sldId id="419" r:id="rId18"/>
    <p:sldId id="420" r:id="rId19"/>
    <p:sldId id="430" r:id="rId20"/>
    <p:sldId id="428" r:id="rId21"/>
    <p:sldId id="429" r:id="rId22"/>
    <p:sldId id="427" r:id="rId23"/>
    <p:sldId id="422" r:id="rId24"/>
    <p:sldId id="426" r:id="rId25"/>
    <p:sldId id="424" r:id="rId26"/>
    <p:sldId id="401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CEDED"/>
    <a:srgbClr val="00AA5A"/>
    <a:srgbClr val="007BDF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D13F2B-5C3F-4863-A393-91FEE3CED053}" v="1" dt="2023-05-16T19:18:23.0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9606" autoAdjust="0"/>
  </p:normalViewPr>
  <p:slideViewPr>
    <p:cSldViewPr snapToGrid="0">
      <p:cViewPr varScale="1">
        <p:scale>
          <a:sx n="60" d="100"/>
          <a:sy n="60" d="100"/>
        </p:scale>
        <p:origin x="908" y="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90" d="100"/>
          <a:sy n="90" d="100"/>
        </p:scale>
        <p:origin x="2034" y="-20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is Manuel Pereira Reis" userId="fecb19c8-7e00-4a5d-82a9-0315918f464b" providerId="ADAL" clId="{D8966C78-BF56-4E77-94BF-807E6C53236C}"/>
    <pc:docChg chg="modSld">
      <pc:chgData name="Luis Manuel Pereira Reis" userId="fecb19c8-7e00-4a5d-82a9-0315918f464b" providerId="ADAL" clId="{D8966C78-BF56-4E77-94BF-807E6C53236C}" dt="2022-07-25T09:43:05.994" v="68" actId="20577"/>
      <pc:docMkLst>
        <pc:docMk/>
      </pc:docMkLst>
      <pc:sldChg chg="modSp mod">
        <pc:chgData name="Luis Manuel Pereira Reis" userId="fecb19c8-7e00-4a5d-82a9-0315918f464b" providerId="ADAL" clId="{D8966C78-BF56-4E77-94BF-807E6C53236C}" dt="2022-07-25T09:43:05.994" v="68" actId="20577"/>
        <pc:sldMkLst>
          <pc:docMk/>
          <pc:sldMk cId="1252288932" sldId="424"/>
        </pc:sldMkLst>
        <pc:spChg chg="mod">
          <ac:chgData name="Luis Manuel Pereira Reis" userId="fecb19c8-7e00-4a5d-82a9-0315918f464b" providerId="ADAL" clId="{D8966C78-BF56-4E77-94BF-807E6C53236C}" dt="2022-07-25T09:43:05.994" v="68" actId="20577"/>
          <ac:spMkLst>
            <pc:docMk/>
            <pc:sldMk cId="1252288932" sldId="424"/>
            <ac:spMk id="6" creationId="{00000000-0000-0000-0000-000000000000}"/>
          </ac:spMkLst>
        </pc:spChg>
      </pc:sldChg>
    </pc:docChg>
  </pc:docChgLst>
  <pc:docChgLst>
    <pc:chgData name="Luis Manuel Pereira Reis" userId="fecb19c8-7e00-4a5d-82a9-0315918f464b" providerId="ADAL" clId="{73D13F2B-5C3F-4863-A393-91FEE3CED053}"/>
    <pc:docChg chg="undo custSel addSld modSld sldOrd">
      <pc:chgData name="Luis Manuel Pereira Reis" userId="fecb19c8-7e00-4a5d-82a9-0315918f464b" providerId="ADAL" clId="{73D13F2B-5C3F-4863-A393-91FEE3CED053}" dt="2023-09-11T17:43:54.495" v="300" actId="20577"/>
      <pc:docMkLst>
        <pc:docMk/>
      </pc:docMkLst>
      <pc:sldChg chg="addSp delSp modSp mod">
        <pc:chgData name="Luis Manuel Pereira Reis" userId="fecb19c8-7e00-4a5d-82a9-0315918f464b" providerId="ADAL" clId="{73D13F2B-5C3F-4863-A393-91FEE3CED053}" dt="2023-05-16T19:18:25.496" v="2" actId="27614"/>
        <pc:sldMkLst>
          <pc:docMk/>
          <pc:sldMk cId="2246891037" sldId="391"/>
        </pc:sldMkLst>
        <pc:picChg chg="add mod">
          <ac:chgData name="Luis Manuel Pereira Reis" userId="fecb19c8-7e00-4a5d-82a9-0315918f464b" providerId="ADAL" clId="{73D13F2B-5C3F-4863-A393-91FEE3CED053}" dt="2023-05-16T19:18:25.496" v="2" actId="27614"/>
          <ac:picMkLst>
            <pc:docMk/>
            <pc:sldMk cId="2246891037" sldId="391"/>
            <ac:picMk id="3" creationId="{D19E1B1C-2330-6EA5-EB3D-F4E88A3CE0F3}"/>
          </ac:picMkLst>
        </pc:picChg>
        <pc:picChg chg="del">
          <ac:chgData name="Luis Manuel Pereira Reis" userId="fecb19c8-7e00-4a5d-82a9-0315918f464b" providerId="ADAL" clId="{73D13F2B-5C3F-4863-A393-91FEE3CED053}" dt="2023-05-16T19:18:21.745" v="0" actId="478"/>
          <ac:picMkLst>
            <pc:docMk/>
            <pc:sldMk cId="2246891037" sldId="391"/>
            <ac:picMk id="4" creationId="{F45D53D6-9865-47F0-99E6-C2D1F6C42C2D}"/>
          </ac:picMkLst>
        </pc:picChg>
      </pc:sldChg>
      <pc:sldChg chg="modSp mod">
        <pc:chgData name="Luis Manuel Pereira Reis" userId="fecb19c8-7e00-4a5d-82a9-0315918f464b" providerId="ADAL" clId="{73D13F2B-5C3F-4863-A393-91FEE3CED053}" dt="2023-05-16T19:25:56.745" v="8" actId="20577"/>
        <pc:sldMkLst>
          <pc:docMk/>
          <pc:sldMk cId="2409216997" sldId="401"/>
        </pc:sldMkLst>
        <pc:spChg chg="mod">
          <ac:chgData name="Luis Manuel Pereira Reis" userId="fecb19c8-7e00-4a5d-82a9-0315918f464b" providerId="ADAL" clId="{73D13F2B-5C3F-4863-A393-91FEE3CED053}" dt="2023-05-16T19:25:56.745" v="8" actId="20577"/>
          <ac:spMkLst>
            <pc:docMk/>
            <pc:sldMk cId="2409216997" sldId="401"/>
            <ac:spMk id="6" creationId="{00000000-0000-0000-0000-000000000000}"/>
          </ac:spMkLst>
        </pc:spChg>
      </pc:sldChg>
      <pc:sldChg chg="modSp mod">
        <pc:chgData name="Luis Manuel Pereira Reis" userId="fecb19c8-7e00-4a5d-82a9-0315918f464b" providerId="ADAL" clId="{73D13F2B-5C3F-4863-A393-91FEE3CED053}" dt="2023-09-11T17:43:54.495" v="300" actId="20577"/>
        <pc:sldMkLst>
          <pc:docMk/>
          <pc:sldMk cId="1252288932" sldId="424"/>
        </pc:sldMkLst>
        <pc:spChg chg="mod">
          <ac:chgData name="Luis Manuel Pereira Reis" userId="fecb19c8-7e00-4a5d-82a9-0315918f464b" providerId="ADAL" clId="{73D13F2B-5C3F-4863-A393-91FEE3CED053}" dt="2023-09-11T17:43:54.495" v="300" actId="20577"/>
          <ac:spMkLst>
            <pc:docMk/>
            <pc:sldMk cId="1252288932" sldId="424"/>
            <ac:spMk id="6" creationId="{00000000-0000-0000-0000-000000000000}"/>
          </ac:spMkLst>
        </pc:spChg>
      </pc:sldChg>
      <pc:sldChg chg="modSp mod">
        <pc:chgData name="Luis Manuel Pereira Reis" userId="fecb19c8-7e00-4a5d-82a9-0315918f464b" providerId="ADAL" clId="{73D13F2B-5C3F-4863-A393-91FEE3CED053}" dt="2023-05-29T12:17:22.294" v="234" actId="20577"/>
        <pc:sldMkLst>
          <pc:docMk/>
          <pc:sldMk cId="1760938681" sldId="425"/>
        </pc:sldMkLst>
        <pc:spChg chg="mod">
          <ac:chgData name="Luis Manuel Pereira Reis" userId="fecb19c8-7e00-4a5d-82a9-0315918f464b" providerId="ADAL" clId="{73D13F2B-5C3F-4863-A393-91FEE3CED053}" dt="2023-05-29T12:17:22.294" v="234" actId="20577"/>
          <ac:spMkLst>
            <pc:docMk/>
            <pc:sldMk cId="1760938681" sldId="425"/>
            <ac:spMk id="6" creationId="{00000000-0000-0000-0000-000000000000}"/>
          </ac:spMkLst>
        </pc:spChg>
      </pc:sldChg>
      <pc:sldChg chg="modSp mod">
        <pc:chgData name="Luis Manuel Pereira Reis" userId="fecb19c8-7e00-4a5d-82a9-0315918f464b" providerId="ADAL" clId="{73D13F2B-5C3F-4863-A393-91FEE3CED053}" dt="2023-05-29T16:53:12.035" v="238" actId="6549"/>
        <pc:sldMkLst>
          <pc:docMk/>
          <pc:sldMk cId="2282690157" sldId="427"/>
        </pc:sldMkLst>
        <pc:spChg chg="mod">
          <ac:chgData name="Luis Manuel Pereira Reis" userId="fecb19c8-7e00-4a5d-82a9-0315918f464b" providerId="ADAL" clId="{73D13F2B-5C3F-4863-A393-91FEE3CED053}" dt="2023-05-29T11:49:45.295" v="95" actId="20577"/>
          <ac:spMkLst>
            <pc:docMk/>
            <pc:sldMk cId="2282690157" sldId="427"/>
            <ac:spMk id="3" creationId="{00000000-0000-0000-0000-000000000000}"/>
          </ac:spMkLst>
        </pc:spChg>
        <pc:spChg chg="mod">
          <ac:chgData name="Luis Manuel Pereira Reis" userId="fecb19c8-7e00-4a5d-82a9-0315918f464b" providerId="ADAL" clId="{73D13F2B-5C3F-4863-A393-91FEE3CED053}" dt="2023-05-29T16:53:12.035" v="238" actId="6549"/>
          <ac:spMkLst>
            <pc:docMk/>
            <pc:sldMk cId="2282690157" sldId="427"/>
            <ac:spMk id="6" creationId="{00000000-0000-0000-0000-000000000000}"/>
          </ac:spMkLst>
        </pc:spChg>
      </pc:sldChg>
      <pc:sldChg chg="modSp add mod ord">
        <pc:chgData name="Luis Manuel Pereira Reis" userId="fecb19c8-7e00-4a5d-82a9-0315918f464b" providerId="ADAL" clId="{73D13F2B-5C3F-4863-A393-91FEE3CED053}" dt="2023-05-29T16:50:35.492" v="235" actId="6549"/>
        <pc:sldMkLst>
          <pc:docMk/>
          <pc:sldMk cId="1792471798" sldId="428"/>
        </pc:sldMkLst>
        <pc:spChg chg="mod">
          <ac:chgData name="Luis Manuel Pereira Reis" userId="fecb19c8-7e00-4a5d-82a9-0315918f464b" providerId="ADAL" clId="{73D13F2B-5C3F-4863-A393-91FEE3CED053}" dt="2023-05-29T11:45:42.563" v="79" actId="20577"/>
          <ac:spMkLst>
            <pc:docMk/>
            <pc:sldMk cId="1792471798" sldId="428"/>
            <ac:spMk id="3" creationId="{00000000-0000-0000-0000-000000000000}"/>
          </ac:spMkLst>
        </pc:spChg>
        <pc:spChg chg="mod">
          <ac:chgData name="Luis Manuel Pereira Reis" userId="fecb19c8-7e00-4a5d-82a9-0315918f464b" providerId="ADAL" clId="{73D13F2B-5C3F-4863-A393-91FEE3CED053}" dt="2023-05-29T16:50:35.492" v="235" actId="6549"/>
          <ac:spMkLst>
            <pc:docMk/>
            <pc:sldMk cId="1792471798" sldId="428"/>
            <ac:spMk id="6" creationId="{00000000-0000-0000-0000-000000000000}"/>
          </ac:spMkLst>
        </pc:spChg>
      </pc:sldChg>
      <pc:sldChg chg="modSp add mod ord">
        <pc:chgData name="Luis Manuel Pereira Reis" userId="fecb19c8-7e00-4a5d-82a9-0315918f464b" providerId="ADAL" clId="{73D13F2B-5C3F-4863-A393-91FEE3CED053}" dt="2023-05-29T16:52:56.817" v="237" actId="20577"/>
        <pc:sldMkLst>
          <pc:docMk/>
          <pc:sldMk cId="190825869" sldId="429"/>
        </pc:sldMkLst>
        <pc:spChg chg="mod">
          <ac:chgData name="Luis Manuel Pereira Reis" userId="fecb19c8-7e00-4a5d-82a9-0315918f464b" providerId="ADAL" clId="{73D13F2B-5C3F-4863-A393-91FEE3CED053}" dt="2023-05-29T11:46:28.238" v="81" actId="20577"/>
          <ac:spMkLst>
            <pc:docMk/>
            <pc:sldMk cId="190825869" sldId="429"/>
            <ac:spMk id="3" creationId="{00000000-0000-0000-0000-000000000000}"/>
          </ac:spMkLst>
        </pc:spChg>
        <pc:spChg chg="mod">
          <ac:chgData name="Luis Manuel Pereira Reis" userId="fecb19c8-7e00-4a5d-82a9-0315918f464b" providerId="ADAL" clId="{73D13F2B-5C3F-4863-A393-91FEE3CED053}" dt="2023-05-29T16:52:56.817" v="237" actId="20577"/>
          <ac:spMkLst>
            <pc:docMk/>
            <pc:sldMk cId="190825869" sldId="429"/>
            <ac:spMk id="6" creationId="{00000000-0000-0000-0000-000000000000}"/>
          </ac:spMkLst>
        </pc:spChg>
      </pc:sldChg>
      <pc:sldChg chg="modSp add mod ord">
        <pc:chgData name="Luis Manuel Pereira Reis" userId="fecb19c8-7e00-4a5d-82a9-0315918f464b" providerId="ADAL" clId="{73D13F2B-5C3F-4863-A393-91FEE3CED053}" dt="2023-05-29T12:00:20.524" v="185" actId="20577"/>
        <pc:sldMkLst>
          <pc:docMk/>
          <pc:sldMk cId="8400804" sldId="430"/>
        </pc:sldMkLst>
        <pc:spChg chg="mod">
          <ac:chgData name="Luis Manuel Pereira Reis" userId="fecb19c8-7e00-4a5d-82a9-0315918f464b" providerId="ADAL" clId="{73D13F2B-5C3F-4863-A393-91FEE3CED053}" dt="2023-05-29T12:00:20.524" v="185" actId="20577"/>
          <ac:spMkLst>
            <pc:docMk/>
            <pc:sldMk cId="8400804" sldId="430"/>
            <ac:spMk id="6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579CCF-33C9-49D0-94E7-84F9DB269284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BBD8EF-6748-4297-9383-AAE2AF524250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9457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3CF100-8EEA-49B4-9BCE-73804A98BA47}" type="slidenum">
              <a:rPr lang="pt-PT" smtClean="0">
                <a:solidFill>
                  <a:prstClr val="black"/>
                </a:solidFill>
              </a:rPr>
              <a:pPr/>
              <a:t>1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475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219972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007513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173921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652298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608874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47174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48313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01334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5" Type="http://schemas.openxmlformats.org/officeDocument/2006/relationships/image" Target="../media/image10.jpeg"/><Relationship Id="rId4" Type="http://schemas.openxmlformats.org/officeDocument/2006/relationships/image" Target="../media/image8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.xml"/><Relationship Id="rId4" Type="http://schemas.openxmlformats.org/officeDocument/2006/relationships/image" Target="../media/image8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4204519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9991394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2407896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white_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29_06_2017_ALTICE_PPT_NEW_2-05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6081276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4CE130-0319-6747-B8AE-26CF719C91D5}" type="datetime1">
              <a:rPr lang="en-US"/>
              <a:pPr/>
              <a:t>6/11/2024</a:t>
            </a:fld>
            <a:endParaRPr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7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30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2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3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34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35" name="Rectangle 34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tangle 39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788598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black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04" y="0"/>
            <a:ext cx="12192000" cy="6860032"/>
          </a:xfrm>
          <a:prstGeom prst="rect">
            <a:avLst/>
          </a:prstGeom>
        </p:spPr>
      </p:pic>
      <p:pic>
        <p:nvPicPr>
          <p:cNvPr id="9" name="Image 8" descr="altice_logo_rev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927" y="5157192"/>
            <a:ext cx="1296000" cy="1488000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7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69038F06-08D1-6E40-8684-B5F3AD0D6B23}" type="datetime1">
              <a:rPr lang="en-US"/>
              <a:pPr/>
              <a:t>6/11/202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4672110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29_05_2017_ALTICE_PPT_NEW_11-1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3" y="2249019"/>
            <a:ext cx="9697077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3" y="3525011"/>
            <a:ext cx="9697077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3F12C0-BC01-4A41-BAC5-C650BD6CCD8B}" type="datetime1">
              <a:rPr lang="en-US"/>
              <a:pPr/>
              <a:t>6/11/202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6690448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ClrTx/>
              <a:buNone/>
              <a:defRPr/>
            </a:lvl1pPr>
          </a:lstStyle>
          <a:p>
            <a:r>
              <a:rPr lang="en-US" noProof="0" dirty="0"/>
              <a:t>Summary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717798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717798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717798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6699105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99105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7" name="Espace réservé du texte 10"/>
          <p:cNvSpPr>
            <a:spLocks noGrp="1"/>
          </p:cNvSpPr>
          <p:nvPr>
            <p:ph type="body" sz="quarter" idx="18" hasCustomPrompt="1"/>
          </p:nvPr>
        </p:nvSpPr>
        <p:spPr>
          <a:xfrm>
            <a:off x="6699105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0" hasCustomPrompt="1"/>
          </p:nvPr>
        </p:nvSpPr>
        <p:spPr>
          <a:xfrm>
            <a:off x="6240017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4"/>
              </a:buClr>
              <a:buFont typeface="+mj-lt"/>
              <a:buAutoNum type="arabicPeriod" startAt="4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2" name="Espace réservé du texte 10"/>
          <p:cNvSpPr>
            <a:spLocks noGrp="1"/>
          </p:cNvSpPr>
          <p:nvPr>
            <p:ph type="body" sz="quarter" idx="21" hasCustomPrompt="1"/>
          </p:nvPr>
        </p:nvSpPr>
        <p:spPr>
          <a:xfrm>
            <a:off x="303614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1"/>
              </a:buClr>
              <a:buFont typeface="+mj-lt"/>
              <a:buAutoNum type="arabicPeriod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22" hasCustomPrompt="1"/>
          </p:nvPr>
        </p:nvSpPr>
        <p:spPr>
          <a:xfrm>
            <a:off x="303614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2"/>
              </a:buClr>
              <a:buFont typeface="+mj-lt"/>
              <a:buAutoNum type="arabicPeriod" startAt="2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4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303614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3"/>
              </a:buClr>
              <a:buFont typeface="+mj-lt"/>
              <a:buAutoNum type="arabicPeriod" startAt="3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5" name="Espace réservé du texte 10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50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6"/>
              </a:buClr>
              <a:buFont typeface="+mj-lt"/>
              <a:buAutoNum type="arabicPeriod" startAt="6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6" name="Espace réservé du texte 10"/>
          <p:cNvSpPr>
            <a:spLocks noGrp="1"/>
          </p:cNvSpPr>
          <p:nvPr>
            <p:ph type="body" sz="quarter" idx="25" hasCustomPrompt="1"/>
          </p:nvPr>
        </p:nvSpPr>
        <p:spPr>
          <a:xfrm>
            <a:off x="6261150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5"/>
              </a:buClr>
              <a:buFont typeface="+mj-lt"/>
              <a:buAutoNum type="arabicPeriod" startAt="5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7" name="Rectangle 36"/>
          <p:cNvSpPr/>
          <p:nvPr userDrawn="1"/>
        </p:nvSpPr>
        <p:spPr bwMode="gray">
          <a:xfrm rot="10800000">
            <a:off x="268111" y="6360951"/>
            <a:ext cx="11137900" cy="927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38" name="Image 3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6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2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2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9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40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41" name="Rectangle 40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2" name="Rectangle 41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4" name="Rectangle 43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078264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466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6797637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71954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36492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A63027-B0F0-43C5-88B2-DBB63AB8EE46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18670472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947324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769250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6912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70373684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739443709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88801932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815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684766706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44549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78469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30900387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25299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28349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03829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14173809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0063278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71055254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882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47197627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37540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16292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1159574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8092556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561285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916180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4090879102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54458217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274813552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white_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29_06_2017_ALTICE_PPT_NEW_2-05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6081276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4CE130-0319-6747-B8AE-26CF719C91D5}" type="datetime1">
              <a:rPr lang="en-US"/>
              <a:pPr/>
              <a:t>6/11/2024</a:t>
            </a:fld>
            <a:endParaRPr dirty="0"/>
          </a:p>
        </p:txBody>
      </p:sp>
      <p:grpSp>
        <p:nvGrpSpPr>
          <p:cNvPr id="2" name="Group 25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7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30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2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3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34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35" name="Rectangle 34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tangle 39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4141902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black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04" y="0"/>
            <a:ext cx="12192000" cy="6860032"/>
          </a:xfrm>
          <a:prstGeom prst="rect">
            <a:avLst/>
          </a:prstGeom>
        </p:spPr>
      </p:pic>
      <p:pic>
        <p:nvPicPr>
          <p:cNvPr id="9" name="Image 8" descr="altice_logo_rev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927" y="5157192"/>
            <a:ext cx="1296000" cy="1488000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7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69038F06-08D1-6E40-8684-B5F3AD0D6B23}" type="datetime1">
              <a:rPr lang="en-US"/>
              <a:pPr/>
              <a:t>6/11/202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9920827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29_05_2017_ALTICE_PPT_NEW_11-1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3" y="2249019"/>
            <a:ext cx="9697077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3" y="3525011"/>
            <a:ext cx="9697077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3F12C0-BC01-4A41-BAC5-C650BD6CCD8B}" type="datetime1">
              <a:rPr lang="en-US"/>
              <a:pPr/>
              <a:t>6/11/2024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54100279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ClrTx/>
              <a:buNone/>
              <a:defRPr/>
            </a:lvl1pPr>
          </a:lstStyle>
          <a:p>
            <a:r>
              <a:rPr lang="en-US" noProof="0" dirty="0"/>
              <a:t>Summary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717798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717798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717798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6699105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99105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7" name="Espace réservé du texte 10"/>
          <p:cNvSpPr>
            <a:spLocks noGrp="1"/>
          </p:cNvSpPr>
          <p:nvPr>
            <p:ph type="body" sz="quarter" idx="18" hasCustomPrompt="1"/>
          </p:nvPr>
        </p:nvSpPr>
        <p:spPr>
          <a:xfrm>
            <a:off x="6699105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0" hasCustomPrompt="1"/>
          </p:nvPr>
        </p:nvSpPr>
        <p:spPr>
          <a:xfrm>
            <a:off x="6240017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4"/>
              </a:buClr>
              <a:buFont typeface="+mj-lt"/>
              <a:buAutoNum type="arabicPeriod" startAt="4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2" name="Espace réservé du texte 10"/>
          <p:cNvSpPr>
            <a:spLocks noGrp="1"/>
          </p:cNvSpPr>
          <p:nvPr>
            <p:ph type="body" sz="quarter" idx="21" hasCustomPrompt="1"/>
          </p:nvPr>
        </p:nvSpPr>
        <p:spPr>
          <a:xfrm>
            <a:off x="303614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1"/>
              </a:buClr>
              <a:buFont typeface="+mj-lt"/>
              <a:buAutoNum type="arabicPeriod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22" hasCustomPrompt="1"/>
          </p:nvPr>
        </p:nvSpPr>
        <p:spPr>
          <a:xfrm>
            <a:off x="303614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2"/>
              </a:buClr>
              <a:buFont typeface="+mj-lt"/>
              <a:buAutoNum type="arabicPeriod" startAt="2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4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303614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3"/>
              </a:buClr>
              <a:buFont typeface="+mj-lt"/>
              <a:buAutoNum type="arabicPeriod" startAt="3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5" name="Espace réservé du texte 10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50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6"/>
              </a:buClr>
              <a:buFont typeface="+mj-lt"/>
              <a:buAutoNum type="arabicPeriod" startAt="6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6" name="Espace réservé du texte 10"/>
          <p:cNvSpPr>
            <a:spLocks noGrp="1"/>
          </p:cNvSpPr>
          <p:nvPr>
            <p:ph type="body" sz="quarter" idx="25" hasCustomPrompt="1"/>
          </p:nvPr>
        </p:nvSpPr>
        <p:spPr>
          <a:xfrm>
            <a:off x="6261150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5"/>
              </a:buClr>
              <a:buFont typeface="+mj-lt"/>
              <a:buAutoNum type="arabicPeriod" startAt="5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7" name="Rectangle 36"/>
          <p:cNvSpPr/>
          <p:nvPr userDrawn="1"/>
        </p:nvSpPr>
        <p:spPr bwMode="gray">
          <a:xfrm rot="10800000">
            <a:off x="268111" y="6360951"/>
            <a:ext cx="11137900" cy="927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38" name="Image 3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grpSp>
        <p:nvGrpSpPr>
          <p:cNvPr id="6" name="Group 19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6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2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2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9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40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41" name="Rectangle 40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2" name="Rectangle 41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4" name="Rectangle 43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565786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82052160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869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073381519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566465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183377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2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2312834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2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515262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405901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28769696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459377814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00774280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4594647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951" y="-1"/>
            <a:ext cx="12174097" cy="6858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075" y="432823"/>
            <a:ext cx="11137900" cy="2976033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755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041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itle of the presentation</a:t>
            </a:r>
          </a:p>
          <a:p>
            <a:pPr lvl="1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58087677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951" y="-1"/>
            <a:ext cx="12174097" cy="6858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075" y="432011"/>
            <a:ext cx="11137900" cy="2976033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755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2041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itle of the chapter</a:t>
            </a:r>
          </a:p>
        </p:txBody>
      </p:sp>
    </p:spTree>
    <p:extLst>
      <p:ext uri="{BB962C8B-B14F-4D97-AF65-F5344CB8AC3E}">
        <p14:creationId xmlns:p14="http://schemas.microsoft.com/office/powerpoint/2010/main" val="2339132576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5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5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00.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/>
              <a:t>Title of the slid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527075" y="1653120"/>
            <a:ext cx="11137900" cy="3888316"/>
          </a:xfrm>
        </p:spPr>
        <p:txBody>
          <a:bodyPr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358416569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00.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/>
              <a:t>Title of the slid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27075" y="1701802"/>
            <a:ext cx="11137900" cy="4176184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025114642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27075" y="520703"/>
            <a:ext cx="11137900" cy="5357283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981398673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00.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46868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algn="r">
              <a:defRPr sz="1020"/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/>
              <a:t>Title of the slid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527052" y="1653120"/>
            <a:ext cx="7153125" cy="3888316"/>
          </a:xfrm>
        </p:spPr>
        <p:txBody>
          <a:bodyPr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31" y="1701802"/>
            <a:ext cx="3696743" cy="4176184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836653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ictur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00.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/>
          <a:lstStyle/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/>
              <a:t>Title of the slid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4511825" y="1653120"/>
            <a:ext cx="7153125" cy="3888316"/>
          </a:xfrm>
        </p:spPr>
        <p:txBody>
          <a:bodyPr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023" y="1701802"/>
            <a:ext cx="3696743" cy="4176184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671328105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/>
          <a:lstStyle/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527052" y="452982"/>
            <a:ext cx="7153125" cy="5088465"/>
          </a:xfrm>
        </p:spPr>
        <p:txBody>
          <a:bodyPr tIns="7199"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31" y="520703"/>
            <a:ext cx="3696743" cy="5357283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255526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7919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43956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29787071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383959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08876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957390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158099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632639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628443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37178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413837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034716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715776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83891184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404168" y="296561"/>
            <a:ext cx="9093960" cy="3346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accent6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pt-PT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403869" y="655869"/>
            <a:ext cx="9094259" cy="371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PT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6983113"/>
            <a:ext cx="3028950" cy="512762"/>
            <a:chOff x="-17122" y="6915827"/>
            <a:chExt cx="3502889" cy="448798"/>
          </a:xfrm>
        </p:grpSpPr>
        <p:sp>
          <p:nvSpPr>
            <p:cNvPr id="14" name="Rectangle 13"/>
            <p:cNvSpPr/>
            <p:nvPr/>
          </p:nvSpPr>
          <p:spPr>
            <a:xfrm>
              <a:off x="-17122" y="6915827"/>
              <a:ext cx="617624" cy="448798"/>
            </a:xfrm>
            <a:prstGeom prst="rect">
              <a:avLst/>
            </a:prstGeom>
            <a:solidFill>
              <a:srgbClr val="0099AB"/>
            </a:solidFill>
            <a:ln>
              <a:solidFill>
                <a:srgbClr val="0099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0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153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171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4194" y="6915827"/>
              <a:ext cx="617624" cy="448798"/>
            </a:xfrm>
            <a:prstGeom prst="rect">
              <a:avLst/>
            </a:prstGeom>
            <a:solidFill>
              <a:srgbClr val="3BC2D7"/>
            </a:solidFill>
            <a:ln>
              <a:solidFill>
                <a:srgbClr val="3BC2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59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194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215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425510" y="6915827"/>
              <a:ext cx="617624" cy="448798"/>
            </a:xfrm>
            <a:prstGeom prst="rect">
              <a:avLst/>
            </a:prstGeom>
            <a:solidFill>
              <a:srgbClr val="005884"/>
            </a:solidFill>
            <a:ln>
              <a:solidFill>
                <a:srgbClr val="0058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0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88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132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146826" y="6915827"/>
              <a:ext cx="617624" cy="448798"/>
            </a:xfrm>
            <a:prstGeom prst="rect">
              <a:avLst/>
            </a:prstGeom>
            <a:solidFill>
              <a:srgbClr val="002E48"/>
            </a:solidFill>
            <a:ln>
              <a:solidFill>
                <a:srgbClr val="002E4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0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46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72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68143" y="6915827"/>
              <a:ext cx="617624" cy="448798"/>
            </a:xfrm>
            <a:prstGeom prst="rect">
              <a:avLst/>
            </a:prstGeom>
            <a:solidFill>
              <a:srgbClr val="4C4C4E"/>
            </a:solidFill>
            <a:ln>
              <a:solidFill>
                <a:srgbClr val="4C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76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76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239493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3958944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6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63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843C60-23BE-4880-ACAC-0BF3CCF76A50}" type="datetimeFigureOut">
              <a:rPr lang="pt-PT" smtClean="0"/>
              <a:pPr/>
              <a:t>11/06/2024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F794DCE-AFB5-49E4-B59C-3D2EE94DD5E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44477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Title of the slide on one </a:t>
            </a:r>
            <a:br>
              <a:rPr lang="en-US" noProof="0"/>
            </a:br>
            <a:r>
              <a:rPr lang="en-US" noProof="0"/>
              <a:t>or two line(s) – Arial bold 20 pt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263090" y="6362136"/>
            <a:ext cx="10681449" cy="912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4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5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733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1"/>
        </a:buClr>
        <a:buFont typeface="+mj-lt"/>
        <a:buAutoNum type="arabicPeriod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269243" y="6357325"/>
            <a:ext cx="11137900" cy="912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3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5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7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6169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2"/>
        </a:buClr>
        <a:buFont typeface="+mj-lt"/>
        <a:buAutoNum type="arabicPeriod" startAt="2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58161" y="6357325"/>
            <a:ext cx="11137900" cy="912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3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5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7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2957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3"/>
        </a:buClr>
        <a:buFont typeface="+mj-lt"/>
        <a:buAutoNum type="arabicPeriod" startAt="3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Title of the slide on one </a:t>
            </a:r>
            <a:br>
              <a:rPr lang="en-US" noProof="0"/>
            </a:br>
            <a:r>
              <a:rPr lang="en-US" noProof="0"/>
              <a:t>or two line(s) – Arial bold 20 pt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6/11/2024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4" name="Group 10"/>
          <p:cNvGrpSpPr/>
          <p:nvPr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4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5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sp>
        <p:nvSpPr>
          <p:cNvPr id="28" name="Rectangle 27"/>
          <p:cNvSpPr/>
          <p:nvPr userDrawn="1"/>
        </p:nvSpPr>
        <p:spPr bwMode="gray">
          <a:xfrm rot="10800000">
            <a:off x="268111" y="6360951"/>
            <a:ext cx="11137900" cy="927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228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1"/>
        </a:buClr>
        <a:buFont typeface="+mj-lt"/>
        <a:buAutoNum type="arabicPeriod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5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5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27052" y="452974"/>
            <a:ext cx="576395" cy="863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00.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27075" y="1653120"/>
            <a:ext cx="11137900" cy="38883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27052" y="6307223"/>
            <a:ext cx="575734" cy="336550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020" b="1">
                <a:solidFill>
                  <a:schemeClr val="tx1"/>
                </a:solidFill>
              </a:defRPr>
            </a:lvl1pPr>
          </a:lstStyle>
          <a:p>
            <a:pPr defTabSz="932540"/>
            <a:fld id="{733122C9-A0B9-462F-8757-0847AD287B63}" type="slidenum">
              <a:rPr lang="en-US" smtClean="0">
                <a:solidFill>
                  <a:prstClr val="black"/>
                </a:solidFill>
              </a:rPr>
              <a:pPr defTabSz="93254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5706" y="6026616"/>
            <a:ext cx="595200" cy="657239"/>
          </a:xfrm>
          <a:prstGeom prst="rect">
            <a:avLst/>
          </a:prstGeom>
        </p:spPr>
      </p:pic>
      <p:sp>
        <p:nvSpPr>
          <p:cNvPr id="11" name="Espace réservé du pied de page 12"/>
          <p:cNvSpPr>
            <a:spLocks noGrp="1"/>
          </p:cNvSpPr>
          <p:nvPr>
            <p:ph type="ftr" sz="quarter" idx="3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lIns="91398" tIns="45699" rIns="91398" bIns="45699"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</p:spTree>
    <p:extLst>
      <p:ext uri="{BB962C8B-B14F-4D97-AF65-F5344CB8AC3E}">
        <p14:creationId xmlns:p14="http://schemas.microsoft.com/office/powerpoint/2010/main" val="2729473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</p:sldLayoutIdLst>
  <p:transition/>
  <p:hf hdr="0" dt="0"/>
  <p:txStyles>
    <p:titleStyle>
      <a:lvl1pPr algn="l" defTabSz="932540" rtl="0" eaLnBrk="1" latinLnBrk="0" hangingPunct="1">
        <a:lnSpc>
          <a:spcPct val="95000"/>
        </a:lnSpc>
        <a:spcBef>
          <a:spcPct val="0"/>
        </a:spcBef>
        <a:buNone/>
        <a:defRPr sz="2143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32540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itchFamily="34" charset="0"/>
        <a:buNone/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146856" algn="l" defTabSz="93254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146856" algn="l" defTabSz="9325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422212" indent="146856" algn="l" defTabSz="9325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422212" indent="146856" algn="l" defTabSz="9325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2564485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6pPr>
      <a:lvl7pPr marL="3030754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7pPr>
      <a:lvl8pPr marL="3497025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8pPr>
      <a:lvl9pPr marL="3963297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272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540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809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081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1350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7619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3891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0163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6/2024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974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ticelabs.com/site/innovationaward/rules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white sign with white text&#10;&#10;Description automatically generated">
            <a:extLst>
              <a:ext uri="{FF2B5EF4-FFF2-40B4-BE49-F238E27FC236}">
                <a16:creationId xmlns:a16="http://schemas.microsoft.com/office/drawing/2014/main" id="{6BBD3CEB-0E20-11A6-99EC-9BB6BAF1B7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081" y="1536269"/>
            <a:ext cx="10695837" cy="3785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891037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. </a:t>
            </a:r>
            <a:r>
              <a:rPr lang="en-US" sz="40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by AN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160330" cy="4308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Born from Knowledge (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gramme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scientific and technological Knowledge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lorisation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gramme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promoted by the Portuguese National Innovation Agency (ANI).  Through the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wards, ANI intends to distinguish projects that are “born from Knowledge”, as well as companies that stand out in terms of Research &amp; Development (R&amp;D) activities, in innovation competitions and awards that already exist in Portugal.</a:t>
            </a: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ease identify: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mber of members in the founder team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mber of PhDs in the founder team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mber of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sc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n the founder team;</a:t>
            </a: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te:</a:t>
            </a:r>
          </a:p>
          <a:p>
            <a:pPr>
              <a:lnSpc>
                <a:spcPct val="150000"/>
              </a:lnSpc>
            </a:pP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 case the application becomes one of the AIIA shortlisted Portuguese Startups eligible to receive the BFK Award:</a:t>
            </a:r>
          </a:p>
          <a:p>
            <a:pPr lvl="2">
              <a:lnSpc>
                <a:spcPct val="150000"/>
              </a:lnSpc>
            </a:pP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. the founder team’s resume must be provided after the shortlist has been announced</a:t>
            </a:r>
          </a:p>
          <a:p>
            <a:pPr lvl="2">
              <a:lnSpc>
                <a:spcPct val="150000"/>
              </a:lnSpc>
            </a:pP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I. it will be granted the chance to the team to provide any other document or file that the team think might be insightful for the </a:t>
            </a:r>
            <a:r>
              <a:rPr lang="en-US" sz="11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wards’ jury</a:t>
            </a:r>
          </a:p>
        </p:txBody>
      </p:sp>
    </p:spTree>
    <p:extLst>
      <p:ext uri="{BB962C8B-B14F-4D97-AF65-F5344CB8AC3E}">
        <p14:creationId xmlns:p14="http://schemas.microsoft.com/office/powerpoint/2010/main" val="840080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.1 </a:t>
            </a:r>
            <a:r>
              <a:rPr lang="en-US" sz="40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by AN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e reasons and activities that originated this project. Consider mentioning R&amp;D activities:</a:t>
            </a:r>
          </a:p>
        </p:txBody>
      </p:sp>
    </p:spTree>
    <p:extLst>
      <p:ext uri="{BB962C8B-B14F-4D97-AF65-F5344CB8AC3E}">
        <p14:creationId xmlns:p14="http://schemas.microsoft.com/office/powerpoint/2010/main" val="179247179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.2 </a:t>
            </a:r>
            <a:r>
              <a:rPr lang="en-US" sz="40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by AN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is project’s collaborative processes and explain your collaboration strategies. For example, collaboration/partnerships with universities, research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entres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tc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90825869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.3 </a:t>
            </a:r>
            <a:r>
              <a:rPr lang="en-US" sz="40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by AN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e project’s intellectual property and knowledge protection strategy:</a:t>
            </a:r>
          </a:p>
        </p:txBody>
      </p:sp>
    </p:spTree>
    <p:extLst>
      <p:ext uri="{BB962C8B-B14F-4D97-AF65-F5344CB8AC3E}">
        <p14:creationId xmlns:p14="http://schemas.microsoft.com/office/powerpoint/2010/main" val="2282690157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. Reasons to apply to the awar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ighlight what type of synergies are you expecting to build or do you foresee with Altice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9. Other relevant informa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sert other relevant information that you would like us to consider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424767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0. Links for related information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en-US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884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 this slide you should insert: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rtups only: link for “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ertidão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rmanente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” (or code to access it) for Portugal; OR any other legal document proving startup's creation date; OR statement informing startup is not yet incorporated; </a:t>
            </a:r>
            <a:r>
              <a:rPr lang="en-US" sz="14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k(s) for your social media channels (when available)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k for your website (when available)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k(s) for relevant news (when available) if not available in any other slide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k(s) for papers, articles or patents (when available) if not available in any other slide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ther relevant links to evaluate your project.</a:t>
            </a: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 Mandatory information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pt-PT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228893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asted-image.pdf" descr="pasted-image.pd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2106152" y="-2302934"/>
            <a:ext cx="6836970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extBox 5"/>
          <p:cNvSpPr txBox="1"/>
          <p:nvPr/>
        </p:nvSpPr>
        <p:spPr>
          <a:xfrm>
            <a:off x="460646" y="5305460"/>
            <a:ext cx="8653010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en-US" sz="3000" b="1" dirty="0">
                <a:solidFill>
                  <a:srgbClr val="FFFFFF"/>
                </a:solidFill>
                <a:latin typeface="Arial" pitchFamily="34" charset="0"/>
                <a:ea typeface="Helvetica Neue"/>
                <a:cs typeface="Arial" pitchFamily="34" charset="0"/>
                <a:sym typeface="Helvetica Neue"/>
              </a:rPr>
              <a:t>ALTICE INTERNATIONAL INNOVATION AWARD</a:t>
            </a:r>
          </a:p>
          <a:p>
            <a:pPr defTabSz="825500" hangingPunct="0"/>
            <a:r>
              <a:rPr lang="en-US" sz="3000" dirty="0">
                <a:solidFill>
                  <a:srgbClr val="FFFFFF"/>
                </a:solidFill>
                <a:latin typeface="Arial" pitchFamily="34" charset="0"/>
                <a:ea typeface="Helvetica Neue"/>
                <a:cs typeface="Arial" pitchFamily="34" charset="0"/>
                <a:sym typeface="Helvetica Neue"/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40921699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efore your start, read the following guidelines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2800" y="1066954"/>
            <a:ext cx="11061369" cy="3197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ad 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3"/>
              </a:rPr>
              <a:t>our regulation 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refully before filling in this document and submitting your entry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is document should be in English; </a:t>
            </a:r>
            <a:r>
              <a:rPr lang="en-US" sz="14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pt-PT" sz="1400" i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may add slides to this document (being about the same topic already covered by the current slides or about new topics you would like to address)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owever, the current ones must keep their sequence (although new ones may be added in the middle) and their title should not be changed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may change the layout of this document: colors, font, add images,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tc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lides [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0-13] (topic number 7</a:t>
            </a:r>
            <a:r>
              <a:rPr lang="en-US" sz="1400" i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 are only 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ndatory for those who want to be eligible for the Born from Knowledge award;</a:t>
            </a:r>
          </a:p>
          <a:p>
            <a:pPr>
              <a:lnSpc>
                <a:spcPct val="150000"/>
              </a:lnSpc>
            </a:pPr>
            <a:endParaRPr lang="en-US" sz="12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 Mandato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76093868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71400" y="2767281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sert the title of your project </a:t>
            </a:r>
            <a:r>
              <a:rPr lang="en-US" sz="4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. Project description and goals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en-US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e project/product/service you are submitting, as well as its main goals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. Project use cases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dentify the main use cases of the project/product/service you are submitting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. Competitors identification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dentify who are the main competitors of the project/product/service you are submitting, as well as the main differences between your project/product/service and theirs by highlighting your competitive advantages.</a:t>
            </a:r>
            <a:endParaRPr lang="en-US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. Value proposition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en-US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dentify the most important features and characteristics of the project/product/service you are submitting in order to make it special, unique and be the one chosen by the market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. Business model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en-US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lain the business model of the project/product/service you are submitting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. Growth potential and future perspectives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e growth potential of the project/product/service you are submitting. Also highlight the main future perspectives you have for it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4472C4"/>
      </a:hlink>
      <a:folHlink>
        <a:srgbClr val="7F7F7F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ltice_16-9_us_june_17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DB94B646-FC2E-4153-9C40-B1E8A17C6503}"/>
    </a:ext>
  </a:extLst>
</a:theme>
</file>

<file path=ppt/theme/theme3.xml><?xml version="1.0" encoding="utf-8"?>
<a:theme xmlns:a="http://schemas.openxmlformats.org/drawingml/2006/main" name="altice_16-9_green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BFBDC602-42D1-483E-BB02-45D1E3DDCD08}"/>
    </a:ext>
  </a:extLst>
</a:theme>
</file>

<file path=ppt/theme/theme4.xml><?xml version="1.0" encoding="utf-8"?>
<a:theme xmlns:a="http://schemas.openxmlformats.org/drawingml/2006/main" name="1_altice_16-9_blue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5011EB0E-BD36-49B5-94D9-7B41E686316E}"/>
    </a:ext>
  </a:extLst>
</a:theme>
</file>

<file path=ppt/theme/theme5.xml><?xml version="1.0" encoding="utf-8"?>
<a:theme xmlns:a="http://schemas.openxmlformats.org/drawingml/2006/main" name="PPT_Altice_16x9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DB94B646-FC2E-4153-9C40-B1E8A17C6503}"/>
    </a:ext>
  </a:extLst>
</a:theme>
</file>

<file path=ppt/theme/theme6.xml><?xml version="1.0" encoding="utf-8"?>
<a:theme xmlns:a="http://schemas.openxmlformats.org/drawingml/2006/main" name="altice_blue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2_Office Theme">
  <a:themeElements>
    <a:clrScheme name="Custom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otes xmlns="1941485d-ec02-437c-a9e1-406c74e71e15" xsi:nil="true"/>
    <lcf76f155ced4ddcb4097134ff3c332f xmlns="1941485d-ec02-437c-a9e1-406c74e71e15">
      <Terms xmlns="http://schemas.microsoft.com/office/infopath/2007/PartnerControls"/>
    </lcf76f155ced4ddcb4097134ff3c332f>
    <TaxCatchAll xmlns="003b8492-1e4e-4966-ba8a-217b64a5ddd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1A86EBA6B1CA439E3EB956558ED1C2" ma:contentTypeVersion="17" ma:contentTypeDescription="Create a new document." ma:contentTypeScope="" ma:versionID="c6f6581a63ecc0d043e5540e5951c7ce">
  <xsd:schema xmlns:xsd="http://www.w3.org/2001/XMLSchema" xmlns:xs="http://www.w3.org/2001/XMLSchema" xmlns:p="http://schemas.microsoft.com/office/2006/metadata/properties" xmlns:ns2="1941485d-ec02-437c-a9e1-406c74e71e15" xmlns:ns3="003b8492-1e4e-4966-ba8a-217b64a5ddd1" targetNamespace="http://schemas.microsoft.com/office/2006/metadata/properties" ma:root="true" ma:fieldsID="697785bd78d87f959a0d04f44a4f788c" ns2:_="" ns3:_="">
    <xsd:import namespace="1941485d-ec02-437c-a9e1-406c74e71e15"/>
    <xsd:import namespace="003b8492-1e4e-4966-ba8a-217b64a5ddd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Notes" minOccurs="0"/>
                <xsd:element ref="ns2:MediaServiceDateTake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41485d-ec02-437c-a9e1-406c74e71e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b9b2d589-b1fa-4add-a8cc-36614dd1c29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Notes" ma:index="21" nillable="true" ma:displayName="Notes" ma:format="Dropdown" ma:internalName="Notes">
      <xsd:simpleType>
        <xsd:restriction base="dms:Note">
          <xsd:maxLength value="255"/>
        </xsd:restriction>
      </xsd:simple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3b8492-1e4e-4966-ba8a-217b64a5ddd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23bd7cc-8541-4ccf-b246-833badd7568d}" ma:internalName="TaxCatchAll" ma:showField="CatchAllData" ma:web="003b8492-1e4e-4966-ba8a-217b64a5ddd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EED1DFE-3323-47C1-9449-906F6FA10DDB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1941485d-ec02-437c-a9e1-406c74e71e15"/>
    <ds:schemaRef ds:uri="003b8492-1e4e-4966-ba8a-217b64a5ddd1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7D44BCF-1E00-401A-B71D-29D775935CE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159A86-292B-44D6-AC85-92FDE7DC7E24}"/>
</file>

<file path=docProps/app.xml><?xml version="1.0" encoding="utf-8"?>
<Properties xmlns="http://schemas.openxmlformats.org/officeDocument/2006/extended-properties" xmlns:vt="http://schemas.openxmlformats.org/officeDocument/2006/docPropsVTypes">
  <TotalTime>2960</TotalTime>
  <Words>753</Words>
  <Application>Microsoft Office PowerPoint</Application>
  <PresentationFormat>Widescreen</PresentationFormat>
  <Paragraphs>74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Calibri</vt:lpstr>
      <vt:lpstr>Calibri Light</vt:lpstr>
      <vt:lpstr>Wingdings 2</vt:lpstr>
      <vt:lpstr>Office Theme</vt:lpstr>
      <vt:lpstr>altice_16-9_us_june_17</vt:lpstr>
      <vt:lpstr>altice_16-9_green</vt:lpstr>
      <vt:lpstr>1_altice_16-9_blue</vt:lpstr>
      <vt:lpstr>PPT_Altice_16x9</vt:lpstr>
      <vt:lpstr>altice_blu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 Patrícia Monteiro</dc:creator>
  <cp:lastModifiedBy>Luis Manuel Pereira Reis</cp:lastModifiedBy>
  <cp:revision>222</cp:revision>
  <dcterms:created xsi:type="dcterms:W3CDTF">2018-01-25T09:18:56Z</dcterms:created>
  <dcterms:modified xsi:type="dcterms:W3CDTF">2024-06-11T14:3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1A86EBA6B1CA439E3EB956558ED1C2</vt:lpwstr>
  </property>
  <property fmtid="{D5CDD505-2E9C-101B-9397-08002B2CF9AE}" pid="3" name="MediaServiceImageTags">
    <vt:lpwstr/>
  </property>
</Properties>
</file>